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70" d="100"/>
          <a:sy n="70" d="100"/>
        </p:scale>
        <p:origin x="51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3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3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78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Implementing Site High Availability with stretch clustering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1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Implementing Site High Availability with stretch clustering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Site High Availability with stretch clustering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03T16:16:11Z</dcterms:created>
  <dcterms:modified xsi:type="dcterms:W3CDTF">2021-02-03T16:17:0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